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1"/>
  </p:notesMasterIdLst>
  <p:sldIdLst>
    <p:sldId id="256" r:id="rId5"/>
    <p:sldId id="295" r:id="rId6"/>
    <p:sldId id="294" r:id="rId7"/>
    <p:sldId id="296" r:id="rId8"/>
    <p:sldId id="298" r:id="rId9"/>
    <p:sldId id="300" r:id="rId10"/>
  </p:sldIdLst>
  <p:sldSz cx="12192000" cy="6858000"/>
  <p:notesSz cx="7010400" cy="92964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C322D"/>
    <a:srgbClr val="663300"/>
    <a:srgbClr val="C5E0B4"/>
    <a:srgbClr val="F4B18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BFA8B7-18CE-081D-97F3-BC44CA291CB7}" v="26" dt="2023-10-17T02:08:10.318"/>
    <p1510:client id="{A6060824-5F2B-4732-8492-4CC1A260F595}" v="5" dt="2023-10-17T02:11:30.885"/>
    <p1510:client id="{FE4B872C-FB16-CCDB-E35A-F35E331F18A9}" v="268" dt="2023-10-16T07:33:33.21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8" d="100"/>
          <a:sy n="78" d="100"/>
        </p:scale>
        <p:origin x="850" y="4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298C90-1C41-4D12-A5A5-42781F7C8992}" type="datetimeFigureOut">
              <a:rPr lang="en-US" smtClean="0"/>
              <a:t>10/1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3732AF4-D90B-435C-A8DE-85A195A583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0399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88774B-C016-0615-170C-DDE6831D43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3E9901F-8EC6-D157-67B5-BC4370D8DD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1ADEA7-5C00-3740-20D7-79F4E7A060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0C4D27-6936-454D-B7AA-9406196C7A21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6EBFF9-87E5-C1EE-296B-76B8205361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C08D07-96CE-BF30-5DC1-712B7C948C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690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E8FA6C-594B-D57E-62E9-6B9D02DA38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84E4A5E-EC7D-995F-C106-27BCF125CD9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E264C4-24E9-379F-BC7D-65F1F1F848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60B376-34C5-4D20-8A01-A21928DB3A20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191778-D797-9F65-019C-A6EEAFBD07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4A69E1-C847-07D5-007B-79FA9A02E6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73025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E78D75C-99BA-AB71-16F6-2F6A619E339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8617717-9374-DC70-E025-0F8A7A4AB66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52EC3A7-D38E-300E-F1B2-0F40D001E3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C163D7-2155-4054-88D0-296BB598112C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A132CD-7823-6D9C-357C-D8E5145AF0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A0E0EA-DEFD-7A6B-C1D5-A4F74AE4F6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4255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8DB57-AEE3-D6A0-5790-889BCEBDCB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BEFE88-5855-511D-5085-C5751D2446A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756583-2DDB-16E4-F67E-8401B22AF2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4D6509-DE6D-4882-894F-4CD3224C60A6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39074E-BFE2-0CB4-52EC-689C75AB2F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D334685-693A-ED1A-8B41-E10223F9CD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34799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4C01D5-BDE7-BB59-4E8B-32D095557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B975A04-C7AE-AAC1-CD4D-8BFB62A136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EE11CA-659E-128B-F241-E3A2F2C18B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FF7CA-907C-4625-A1F2-09CB84311D5F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3DF0C9-0252-AE54-7991-66619ACC9B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B79199-BF7F-BFCE-5576-37C4F90D6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80406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83F972-6FA3-11AA-BFFD-12F1BFB5DE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03BAFC-7AC1-F41D-BCB8-0A761271D61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0858D54-2FF5-93A1-60C2-2379B72B580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742E2C-1641-9337-8134-F17AFD7F44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F09EA0-2CA3-4E8A-8A69-F5DE2314DEF8}" type="datetime3">
              <a:rPr lang="en-US" smtClean="0"/>
              <a:t>17 October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6214C4E-3977-B93B-A581-8527F0FF76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ACAC20-F22F-479D-901A-E6C66F44B7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29712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2C891-06D7-8A73-02A2-7CD36BBF61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C87C79-F1D6-6808-0CD3-5C3D0E19A8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CE44657-EE53-DE98-BF62-052351681F5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4D63B12-5C6A-F70F-9CBD-A30E49935B3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29C3AD-E095-EBC7-4C49-BEE7C0DE12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056D7E0-7221-EDF8-769C-6C4F30768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EDCC79-2397-40A1-AC94-CD50A47DBC97}" type="datetime3">
              <a:rPr lang="en-US" smtClean="0"/>
              <a:t>17 October 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0356738-3534-309A-CFB1-EFC7B76A1D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5BE373A-664A-164C-9D26-74F28127F7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6911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CEB006-5416-5BA6-A01E-ACB786D662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9E220A-27D2-1FFF-EBD9-E39415CDE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564C31-4B45-4415-B826-9261B13F08DF}" type="datetime3">
              <a:rPr lang="en-US" smtClean="0"/>
              <a:t>17 October 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665164-EDBD-F2FF-CB01-73230BF943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FE930A0-9129-0310-9454-49D48C4C04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58961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D7CA6BF-E3F5-C3C4-7387-C768C02A4B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E5FC7-7AD9-4A97-A700-770C791A9B06}" type="datetime3">
              <a:rPr lang="en-US" smtClean="0"/>
              <a:t>17 October 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CA89D8-293E-5944-6DF7-BFEFAC570A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C853CDD-E788-B5C7-BF40-49411F4AD1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2432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9CED15-4899-2AD1-451F-6F6B11F322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549F60-50E6-E35D-8C51-02E97907BD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01DBA3-8E1D-A0B4-D97A-FB086619A9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6A06284-EB7D-9695-D83E-F554E23C01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0228C3-3F9B-4F38-ACB7-DFAC9941F91A}" type="datetime3">
              <a:rPr lang="en-US" smtClean="0"/>
              <a:t>17 October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A83008A-32E7-085F-E478-834441636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5D160DD-7FA8-ECFD-985F-AFA798A7D9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3742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E054FE-85D7-03BC-444C-FE38988ADA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B9D08FE-7BD8-5D49-14A2-C1FAC1C12D9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5751DB9-BEA8-944D-931D-9B5C72C800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8948EB-21D6-68DB-3B65-A9CD07DF79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86EE28-B83F-4E5D-A2F5-6F6883813283}" type="datetime3">
              <a:rPr lang="en-US" smtClean="0"/>
              <a:t>17 October 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8784A90-38E1-1352-2D02-B1CEB17544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84B2EC-7C10-D81B-8375-A5998125CB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64930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9E78A73-D5EA-AC54-FA24-830A03CEFC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268715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E78A73-D5EA-AC54-FA24-830A03CEF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7EE0FF2-8560-9049-D37F-84A5999922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B35836-6684-C1E7-3BAE-9FE4FB4117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655FF6-38B2-DD2F-867A-1595497EE27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3EAFEC-E589-4649-A4AC-19FE2E40A69A}" type="datetime3">
              <a:rPr lang="en-US" smtClean="0"/>
              <a:t>17 October 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500EF9-89B8-F9E8-0387-C6A5B4B6E6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A136B8-EE14-D0E4-6038-AED0DCAE9B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24711B-2BBD-4434-9CFE-8F1E27B5618A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7A9A0C5-416C-A0B1-80BE-A78F942FBCE6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20840"/>
            <a:ext cx="6127750" cy="13716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9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L. This information is accessible to ADB Management and staff. It may be shared outside ADB with appropriate permission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F9F663-3111-077D-4C35-1A1A9A935478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9082416" y="410053"/>
            <a:ext cx="2271384" cy="8839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2546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2.png"/><Relationship Id="rId10" Type="http://schemas.openxmlformats.org/officeDocument/2006/relationships/image" Target="../media/image11.png"/><Relationship Id="rId4" Type="http://schemas.openxmlformats.org/officeDocument/2006/relationships/image" Target="../media/image1.emf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5.pn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F31EE38-A458-C44D-4324-77A3D97041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9539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31EE38-A458-C44D-4324-77A3D97041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2" name="Rectangle 11">
            <a:extLst>
              <a:ext uri="{FF2B5EF4-FFF2-40B4-BE49-F238E27FC236}">
                <a16:creationId xmlns:a16="http://schemas.microsoft.com/office/drawing/2014/main" id="{1DF91F20-B96F-4F77-AC3E-2CDD3BAA10C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2" y="0"/>
            <a:ext cx="12192004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zh-CN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3D487F7-9050-4871-B351-34A72ADB296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484" y="-1"/>
            <a:ext cx="8111296" cy="6858000"/>
          </a:xfrm>
          <a:prstGeom prst="rect">
            <a:avLst/>
          </a:prstGeom>
          <a:gradFill>
            <a:gsLst>
              <a:gs pos="8000">
                <a:srgbClr val="000000">
                  <a:alpha val="94000"/>
                </a:srgbClr>
              </a:gs>
              <a:gs pos="100000">
                <a:schemeClr val="accent1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zh-CN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43C27DD-EF6A-4C48-9669-C2970E71A8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858281" y="-401562"/>
            <a:ext cx="6858004" cy="7661129"/>
          </a:xfrm>
          <a:prstGeom prst="rect">
            <a:avLst/>
          </a:prstGeom>
          <a:gradFill>
            <a:gsLst>
              <a:gs pos="0">
                <a:schemeClr val="accent1">
                  <a:alpha val="23000"/>
                </a:schemeClr>
              </a:gs>
              <a:gs pos="71000">
                <a:schemeClr val="accent1">
                  <a:lumMod val="50000"/>
                  <a:alpha val="0"/>
                </a:schemeClr>
              </a:gs>
              <a:gs pos="100000">
                <a:srgbClr val="000000">
                  <a:alpha val="0"/>
                </a:srgb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zh-CN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84384FE-1C88-4CAA-8FB8-2313A3AE73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7519" y="-1"/>
            <a:ext cx="8118331" cy="6858000"/>
          </a:xfrm>
          <a:prstGeom prst="rect">
            <a:avLst/>
          </a:prstGeom>
          <a:gradFill>
            <a:gsLst>
              <a:gs pos="14000">
                <a:schemeClr val="accent1">
                  <a:alpha val="0"/>
                </a:schemeClr>
              </a:gs>
              <a:gs pos="100000">
                <a:srgbClr val="000000">
                  <a:alpha val="82000"/>
                </a:srgbClr>
              </a:gs>
            </a:gsLst>
            <a:lin ang="4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zh-CN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7B6A113-58CD-406C-BCE4-6E1F1F2BE6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5449520">
            <a:off x="2569700" y="983306"/>
            <a:ext cx="5005754" cy="5005754"/>
          </a:xfrm>
          <a:prstGeom prst="ellipse">
            <a:avLst/>
          </a:prstGeom>
          <a:gradFill>
            <a:gsLst>
              <a:gs pos="17000">
                <a:schemeClr val="accent1">
                  <a:lumMod val="75000"/>
                  <a:alpha val="0"/>
                </a:schemeClr>
              </a:gs>
              <a:gs pos="82000">
                <a:srgbClr val="000000">
                  <a:alpha val="24000"/>
                </a:srgbClr>
              </a:gs>
            </a:gsLst>
            <a:lin ang="9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zh-CN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06ECCD-D7E4-91F6-1669-78752983AD2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6716" y="857251"/>
            <a:ext cx="7523502" cy="2130919"/>
          </a:xfrm>
        </p:spPr>
        <p:txBody>
          <a:bodyPr vert="horz" anchor="b">
            <a:normAutofit fontScale="90000"/>
          </a:bodyPr>
          <a:lstStyle/>
          <a:p>
            <a:pPr algn="l" rtl="0">
              <a:lnSpc>
                <a:spcPct val="100000"/>
              </a:lnSpc>
            </a:pPr>
            <a:br>
              <a:rPr lang="zh-CN" sz="4000" b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</a:br>
            <a:br>
              <a:rPr lang="zh-CN" sz="4000" b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</a:br>
            <a:r>
              <a:rPr lang="zh-CN" sz="2700" b="1" i="0" u="none" baseline="0">
                <a:solidFill>
                  <a:srgbClr val="FFFFFF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即将举办的能源投资论坛</a:t>
            </a:r>
            <a:br>
              <a:rPr lang="zh-CN" sz="4800" b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</a:br>
            <a:r>
              <a:rPr lang="zh-CN" sz="4800" b="1" i="0" u="none" baseline="0">
                <a:solidFill>
                  <a:srgbClr val="FFFFFF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活动更新</a:t>
            </a:r>
            <a:br>
              <a:rPr lang="zh-CN" sz="3200" b="1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</a:br>
            <a:r>
              <a:rPr lang="zh-CN" sz="2700" b="1" i="0" u="none" baseline="0">
                <a:solidFill>
                  <a:srgbClr val="FFFFFF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2023年11月28—29日，第比利斯</a:t>
            </a:r>
            <a:endParaRPr lang="zh-CN" sz="4800">
              <a:solidFill>
                <a:srgbClr val="FFFFFF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5A1AA86-B7E6-4C02-AA34-F1A25CD4CC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7518" y="4354178"/>
            <a:ext cx="8118330" cy="2503817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  <a:alpha val="33000"/>
                </a:schemeClr>
              </a:gs>
              <a:gs pos="83000">
                <a:srgbClr val="000000">
                  <a:alpha val="21000"/>
                </a:srgb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zh-C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9D5B5D1-37C4-3302-5037-C57AF5D162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9313" y="4800600"/>
            <a:ext cx="6699066" cy="1200149"/>
          </a:xfrm>
        </p:spPr>
        <p:txBody>
          <a:bodyPr anchor="t">
            <a:normAutofit/>
          </a:bodyPr>
          <a:lstStyle/>
          <a:p>
            <a:pPr algn="l" rtl="0">
              <a:lnSpc>
                <a:spcPct val="100000"/>
              </a:lnSpc>
            </a:pPr>
            <a:r>
              <a:rPr lang="zh-CN" sz="2000" b="0" i="0" u="none" baseline="0" dirty="0">
                <a:solidFill>
                  <a:srgbClr val="FFFFFF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阿尔缇奈·阿普洛瓦（ Altynay Arapova），</a:t>
            </a:r>
            <a:br>
              <a:rPr lang="en-US" altLang="zh-CN" sz="2000" b="0" i="0" u="none" baseline="0" dirty="0">
                <a:solidFill>
                  <a:srgbClr val="FFFFFF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</a:br>
            <a:r>
              <a:rPr lang="zh-CN" sz="2000" b="0" i="0" u="none" baseline="0" dirty="0">
                <a:solidFill>
                  <a:srgbClr val="FFFFFF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亚行中西亚局经济学家</a:t>
            </a:r>
          </a:p>
          <a:p>
            <a:pPr algn="l" rtl="0">
              <a:lnSpc>
                <a:spcPct val="100000"/>
              </a:lnSpc>
            </a:pPr>
            <a:r>
              <a:rPr lang="zh-CN" sz="2000" b="0" i="0" u="none" baseline="0" dirty="0">
                <a:solidFill>
                  <a:srgbClr val="FFFFFF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aarapova@adb.org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A18AACE-39DF-F1BE-4C06-C992B97F39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84892" y="315310"/>
            <a:ext cx="2271384" cy="883919"/>
          </a:xfrm>
          <a:prstGeom prst="rect">
            <a:avLst/>
          </a:prstGeom>
        </p:spPr>
      </p:pic>
      <p:pic>
        <p:nvPicPr>
          <p:cNvPr id="4" name="Picture 3" descr="A logo with red and yellow colors&#10;&#10;Description automatically generated">
            <a:extLst>
              <a:ext uri="{FF2B5EF4-FFF2-40B4-BE49-F238E27FC236}">
                <a16:creationId xmlns:a16="http://schemas.microsoft.com/office/drawing/2014/main" id="{20B6C6AF-B77D-346A-6D06-F07FD878C0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19531" y="4836117"/>
            <a:ext cx="2105246" cy="1956365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D52E076-B04B-0AAB-27A3-A5B093A7EC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rtl="0"/>
            <a:fld id="{3A24711B-2BBD-4434-9CFE-8F1E27B5618A}" type="slidenum">
              <a:rPr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pPr algn="r" rtl="0"/>
              <a:t>1</a:t>
            </a:fld>
            <a:endParaRPr lang="zh-CN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45570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7A34EEB-7B1F-4B60-651D-8D5E2CCDF9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53470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A34EEB-7B1F-4B60-651D-8D5E2CCDF9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70F4579-B377-DE92-EEAC-AFDD44A82D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5104" y="136525"/>
            <a:ext cx="10515600" cy="1325563"/>
          </a:xfrm>
        </p:spPr>
        <p:txBody>
          <a:bodyPr vert="horz"/>
          <a:lstStyle/>
          <a:p>
            <a:pPr algn="l" rtl="0"/>
            <a:r>
              <a:rPr lang="zh-CN" sz="4000" b="1" i="0" u="none" baseline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背景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EA47768-AF13-069E-AC72-A62E3E04CA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297" y="1389227"/>
            <a:ext cx="5149369" cy="29339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6B431C8-E847-3118-3E7B-882015E1C78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58951" y="4323169"/>
            <a:ext cx="3234669" cy="184300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7EC9771-7545-A718-5F49-880C60C011E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814270" y="4323169"/>
            <a:ext cx="3234669" cy="1843009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07E65403-B6FF-4104-D83E-948D156A4E3C}"/>
              </a:ext>
            </a:extLst>
          </p:cNvPr>
          <p:cNvSpPr txBox="1">
            <a:spLocks/>
          </p:cNvSpPr>
          <p:nvPr/>
        </p:nvSpPr>
        <p:spPr>
          <a:xfrm>
            <a:off x="5804451" y="1385204"/>
            <a:ext cx="5932445" cy="4477115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zh-CN" sz="2000" b="1" i="0" u="none" baseline="0" dirty="0">
                <a:solidFill>
                  <a:srgbClr val="0070C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2016年，首届中亚区域经济合作能源投资论坛（EIF）在伊斯兰堡拉开帷幕。 </a:t>
            </a:r>
          </a:p>
          <a:p>
            <a:pPr algn="l" rtl="0"/>
            <a:r>
              <a:rPr lang="zh-CN" sz="2000" b="1" i="0" u="none" baseline="0" dirty="0">
                <a:solidFill>
                  <a:srgbClr val="0070C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随后三届分别于2017年在阿斯塔纳、2018年在巴统（格鲁吉亚）和2019年在塔什干举办。 </a:t>
            </a:r>
          </a:p>
          <a:p>
            <a:pPr algn="l" rtl="0"/>
            <a:r>
              <a:rPr lang="zh-CN" sz="2000" b="1" i="0" u="none" baseline="0" dirty="0">
                <a:solidFill>
                  <a:srgbClr val="0070C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2020年和2022年，论坛因疫情原因未能如期举办。 </a:t>
            </a:r>
          </a:p>
          <a:p>
            <a:pPr algn="l" rtl="0"/>
            <a:r>
              <a:rPr lang="zh-CN" sz="2000" b="1" i="0" u="none" baseline="0" dirty="0">
                <a:solidFill>
                  <a:srgbClr val="0070C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2021年，论坛转为线上举办。</a:t>
            </a:r>
          </a:p>
          <a:p>
            <a:endParaRPr lang="zh-CN" sz="2000" b="1" dirty="0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AB18A0B-D2D1-91D3-DF4A-9506D5109059}"/>
              </a:ext>
            </a:extLst>
          </p:cNvPr>
          <p:cNvSpPr txBox="1"/>
          <p:nvPr/>
        </p:nvSpPr>
        <p:spPr>
          <a:xfrm>
            <a:off x="7169589" y="4487374"/>
            <a:ext cx="4755092" cy="156966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lang="zh-CN" sz="2400" b="1" i="0" u="none" baseline="0" dirty="0">
                <a:solidFill>
                  <a:srgbClr val="C00000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2023年第六届中亚区域经济合作能源投资论坛（EIF）将于11月28—29日在第比利斯举办。</a:t>
            </a:r>
            <a:endParaRPr lang="zh-CN" sz="2400" b="1" dirty="0">
              <a:solidFill>
                <a:srgbClr val="C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  <a:p>
            <a:pPr marL="287020" algn="l" rtl="0"/>
            <a:endParaRPr lang="zh-CN" sz="2400" b="1" dirty="0">
              <a:solidFill>
                <a:srgbClr val="C00000"/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11131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BD885838-C520-FEE7-FA16-EE8360BA79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4508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885838-C520-FEE7-FA16-EE8360BA79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777A147A-9ED8-46B4-8660-1B3C2AA880B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zh-CN"/>
          </a:p>
        </p:txBody>
      </p:sp>
      <p:sp>
        <p:nvSpPr>
          <p:cNvPr id="11" name="sketch line">
            <a:extLst>
              <a:ext uri="{FF2B5EF4-FFF2-40B4-BE49-F238E27FC236}">
                <a16:creationId xmlns:a16="http://schemas.microsoft.com/office/drawing/2014/main" id="{5D6C15A0-C087-4593-8414-2B4EC1CDC3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2543983" y="3258715"/>
            <a:ext cx="4480560" cy="18288"/>
          </a:xfrm>
          <a:custGeom>
            <a:avLst/>
            <a:gdLst>
              <a:gd name="connsiteX0" fmla="*/ 0 w 4480560"/>
              <a:gd name="connsiteY0" fmla="*/ 0 h 18288"/>
              <a:gd name="connsiteX1" fmla="*/ 595274 w 4480560"/>
              <a:gd name="connsiteY1" fmla="*/ 0 h 18288"/>
              <a:gd name="connsiteX2" fmla="*/ 1100938 w 4480560"/>
              <a:gd name="connsiteY2" fmla="*/ 0 h 18288"/>
              <a:gd name="connsiteX3" fmla="*/ 1651406 w 4480560"/>
              <a:gd name="connsiteY3" fmla="*/ 0 h 18288"/>
              <a:gd name="connsiteX4" fmla="*/ 2336292 w 4480560"/>
              <a:gd name="connsiteY4" fmla="*/ 0 h 18288"/>
              <a:gd name="connsiteX5" fmla="*/ 2931566 w 4480560"/>
              <a:gd name="connsiteY5" fmla="*/ 0 h 18288"/>
              <a:gd name="connsiteX6" fmla="*/ 3482035 w 4480560"/>
              <a:gd name="connsiteY6" fmla="*/ 0 h 18288"/>
              <a:gd name="connsiteX7" fmla="*/ 4480560 w 4480560"/>
              <a:gd name="connsiteY7" fmla="*/ 0 h 18288"/>
              <a:gd name="connsiteX8" fmla="*/ 4480560 w 4480560"/>
              <a:gd name="connsiteY8" fmla="*/ 18288 h 18288"/>
              <a:gd name="connsiteX9" fmla="*/ 3840480 w 4480560"/>
              <a:gd name="connsiteY9" fmla="*/ 18288 h 18288"/>
              <a:gd name="connsiteX10" fmla="*/ 3290011 w 4480560"/>
              <a:gd name="connsiteY10" fmla="*/ 18288 h 18288"/>
              <a:gd name="connsiteX11" fmla="*/ 2560320 w 4480560"/>
              <a:gd name="connsiteY11" fmla="*/ 18288 h 18288"/>
              <a:gd name="connsiteX12" fmla="*/ 1965046 w 4480560"/>
              <a:gd name="connsiteY12" fmla="*/ 18288 h 18288"/>
              <a:gd name="connsiteX13" fmla="*/ 1459382 w 4480560"/>
              <a:gd name="connsiteY13" fmla="*/ 18288 h 18288"/>
              <a:gd name="connsiteX14" fmla="*/ 774497 w 4480560"/>
              <a:gd name="connsiteY14" fmla="*/ 18288 h 18288"/>
              <a:gd name="connsiteX15" fmla="*/ 0 w 4480560"/>
              <a:gd name="connsiteY15" fmla="*/ 18288 h 18288"/>
              <a:gd name="connsiteX16" fmla="*/ 0 w 4480560"/>
              <a:gd name="connsiteY16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480560" h="18288" fill="none" extrusionOk="0">
                <a:moveTo>
                  <a:pt x="0" y="0"/>
                </a:moveTo>
                <a:cubicBezTo>
                  <a:pt x="267821" y="8731"/>
                  <a:pt x="334105" y="2629"/>
                  <a:pt x="595274" y="0"/>
                </a:cubicBezTo>
                <a:cubicBezTo>
                  <a:pt x="856443" y="-2629"/>
                  <a:pt x="863808" y="-13353"/>
                  <a:pt x="1100938" y="0"/>
                </a:cubicBezTo>
                <a:cubicBezTo>
                  <a:pt x="1338068" y="13353"/>
                  <a:pt x="1431663" y="-25862"/>
                  <a:pt x="1651406" y="0"/>
                </a:cubicBezTo>
                <a:cubicBezTo>
                  <a:pt x="1871149" y="25862"/>
                  <a:pt x="2173163" y="23827"/>
                  <a:pt x="2336292" y="0"/>
                </a:cubicBezTo>
                <a:cubicBezTo>
                  <a:pt x="2499421" y="-23827"/>
                  <a:pt x="2720589" y="28148"/>
                  <a:pt x="2931566" y="0"/>
                </a:cubicBezTo>
                <a:cubicBezTo>
                  <a:pt x="3142543" y="-28148"/>
                  <a:pt x="3323630" y="27022"/>
                  <a:pt x="3482035" y="0"/>
                </a:cubicBezTo>
                <a:cubicBezTo>
                  <a:pt x="3640440" y="-27022"/>
                  <a:pt x="4012110" y="-20118"/>
                  <a:pt x="4480560" y="0"/>
                </a:cubicBezTo>
                <a:cubicBezTo>
                  <a:pt x="4480958" y="7429"/>
                  <a:pt x="4480540" y="10822"/>
                  <a:pt x="4480560" y="18288"/>
                </a:cubicBezTo>
                <a:cubicBezTo>
                  <a:pt x="4314132" y="14924"/>
                  <a:pt x="4028383" y="36632"/>
                  <a:pt x="3840480" y="18288"/>
                </a:cubicBezTo>
                <a:cubicBezTo>
                  <a:pt x="3652577" y="-56"/>
                  <a:pt x="3547615" y="2848"/>
                  <a:pt x="3290011" y="18288"/>
                </a:cubicBezTo>
                <a:cubicBezTo>
                  <a:pt x="3032407" y="33728"/>
                  <a:pt x="2830268" y="8719"/>
                  <a:pt x="2560320" y="18288"/>
                </a:cubicBezTo>
                <a:cubicBezTo>
                  <a:pt x="2290372" y="27857"/>
                  <a:pt x="2147422" y="6728"/>
                  <a:pt x="1965046" y="18288"/>
                </a:cubicBezTo>
                <a:cubicBezTo>
                  <a:pt x="1782670" y="29848"/>
                  <a:pt x="1689791" y="40680"/>
                  <a:pt x="1459382" y="18288"/>
                </a:cubicBezTo>
                <a:cubicBezTo>
                  <a:pt x="1228973" y="-4104"/>
                  <a:pt x="915486" y="36501"/>
                  <a:pt x="774497" y="18288"/>
                </a:cubicBezTo>
                <a:cubicBezTo>
                  <a:pt x="633508" y="75"/>
                  <a:pt x="361442" y="-11107"/>
                  <a:pt x="0" y="18288"/>
                </a:cubicBezTo>
                <a:cubicBezTo>
                  <a:pt x="-591" y="13205"/>
                  <a:pt x="-663" y="6329"/>
                  <a:pt x="0" y="0"/>
                </a:cubicBezTo>
                <a:close/>
              </a:path>
              <a:path w="4480560" h="18288" stroke="0" extrusionOk="0">
                <a:moveTo>
                  <a:pt x="0" y="0"/>
                </a:moveTo>
                <a:cubicBezTo>
                  <a:pt x="285465" y="225"/>
                  <a:pt x="322691" y="16223"/>
                  <a:pt x="595274" y="0"/>
                </a:cubicBezTo>
                <a:cubicBezTo>
                  <a:pt x="867857" y="-16223"/>
                  <a:pt x="989129" y="-11242"/>
                  <a:pt x="1100938" y="0"/>
                </a:cubicBezTo>
                <a:cubicBezTo>
                  <a:pt x="1212747" y="11242"/>
                  <a:pt x="1574350" y="-36410"/>
                  <a:pt x="1830629" y="0"/>
                </a:cubicBezTo>
                <a:cubicBezTo>
                  <a:pt x="2086908" y="36410"/>
                  <a:pt x="2180922" y="4645"/>
                  <a:pt x="2425903" y="0"/>
                </a:cubicBezTo>
                <a:cubicBezTo>
                  <a:pt x="2670884" y="-4645"/>
                  <a:pt x="2782024" y="22929"/>
                  <a:pt x="3021178" y="0"/>
                </a:cubicBezTo>
                <a:cubicBezTo>
                  <a:pt x="3260332" y="-22929"/>
                  <a:pt x="3456982" y="-1586"/>
                  <a:pt x="3750869" y="0"/>
                </a:cubicBezTo>
                <a:cubicBezTo>
                  <a:pt x="4044756" y="1586"/>
                  <a:pt x="4302726" y="17043"/>
                  <a:pt x="4480560" y="0"/>
                </a:cubicBezTo>
                <a:cubicBezTo>
                  <a:pt x="4479674" y="5429"/>
                  <a:pt x="4481381" y="14046"/>
                  <a:pt x="4480560" y="18288"/>
                </a:cubicBezTo>
                <a:cubicBezTo>
                  <a:pt x="4279652" y="-6850"/>
                  <a:pt x="4200762" y="41566"/>
                  <a:pt x="3930091" y="18288"/>
                </a:cubicBezTo>
                <a:cubicBezTo>
                  <a:pt x="3659420" y="-4990"/>
                  <a:pt x="3456052" y="22294"/>
                  <a:pt x="3290011" y="18288"/>
                </a:cubicBezTo>
                <a:cubicBezTo>
                  <a:pt x="3123970" y="14282"/>
                  <a:pt x="2882392" y="32818"/>
                  <a:pt x="2649931" y="18288"/>
                </a:cubicBezTo>
                <a:cubicBezTo>
                  <a:pt x="2417470" y="3758"/>
                  <a:pt x="2238426" y="7337"/>
                  <a:pt x="2054657" y="18288"/>
                </a:cubicBezTo>
                <a:cubicBezTo>
                  <a:pt x="1870888" y="29239"/>
                  <a:pt x="1566368" y="45040"/>
                  <a:pt x="1324966" y="18288"/>
                </a:cubicBezTo>
                <a:cubicBezTo>
                  <a:pt x="1083564" y="-8464"/>
                  <a:pt x="787410" y="10946"/>
                  <a:pt x="595274" y="18288"/>
                </a:cubicBezTo>
                <a:cubicBezTo>
                  <a:pt x="403138" y="25630"/>
                  <a:pt x="169622" y="10499"/>
                  <a:pt x="0" y="18288"/>
                </a:cubicBezTo>
                <a:cubicBezTo>
                  <a:pt x="668" y="13665"/>
                  <a:pt x="578" y="5675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zh-CN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32EA9FC-9C8C-304D-BD2B-9F2981F1DB4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310327" y="143660"/>
            <a:ext cx="2271384" cy="883919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FC683E-E650-BF3F-3AE0-6E4BAA06FD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056168"/>
            <a:ext cx="2743200" cy="365125"/>
          </a:xfrm>
        </p:spPr>
        <p:txBody>
          <a:bodyPr/>
          <a:lstStyle/>
          <a:p>
            <a:pPr algn="r" rtl="0"/>
            <a:fld id="{3A24711B-2BBD-4434-9CFE-8F1E27B5618A}" type="slidenum">
              <a:rPr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pPr algn="r" rtl="0"/>
              <a:t>3</a:t>
            </a:fld>
            <a:endParaRPr lang="zh-CN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0C2EC01-E477-2037-2906-8D2B94575EF5}"/>
              </a:ext>
            </a:extLst>
          </p:cNvPr>
          <p:cNvSpPr/>
          <p:nvPr/>
        </p:nvSpPr>
        <p:spPr>
          <a:xfrm>
            <a:off x="4354263" y="883918"/>
            <a:ext cx="495177" cy="5213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zh-CN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B908C59-18D8-DD00-C2E1-391034504558}"/>
              </a:ext>
            </a:extLst>
          </p:cNvPr>
          <p:cNvSpPr/>
          <p:nvPr/>
        </p:nvSpPr>
        <p:spPr>
          <a:xfrm>
            <a:off x="299083" y="1389151"/>
            <a:ext cx="5678964" cy="1512550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zh-CN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0DA770B-5EBA-6C55-D7C0-0D74460A7ADD}"/>
              </a:ext>
            </a:extLst>
          </p:cNvPr>
          <p:cNvSpPr/>
          <p:nvPr/>
        </p:nvSpPr>
        <p:spPr>
          <a:xfrm>
            <a:off x="306759" y="2997381"/>
            <a:ext cx="5678964" cy="151255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zh-CN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EA0D0BD-C28B-B2FF-A27C-80D668EABB76}"/>
              </a:ext>
            </a:extLst>
          </p:cNvPr>
          <p:cNvSpPr/>
          <p:nvPr/>
        </p:nvSpPr>
        <p:spPr>
          <a:xfrm>
            <a:off x="306759" y="4596126"/>
            <a:ext cx="5678964" cy="151255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zh-CN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AB770AE1-315D-4AD6-DBA6-28F7D0E0CC4E}"/>
              </a:ext>
            </a:extLst>
          </p:cNvPr>
          <p:cNvSpPr txBox="1">
            <a:spLocks/>
          </p:cNvSpPr>
          <p:nvPr/>
        </p:nvSpPr>
        <p:spPr>
          <a:xfrm>
            <a:off x="1604319" y="1547751"/>
            <a:ext cx="4289591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rtl="0"/>
            <a:r>
              <a:rPr lang="zh-CN" sz="1600" b="1" i="0" u="none" baseline="0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中亚区域经济合作（CAREC）能源投资论坛（EIF）为CAREC地区各国政府、项目开发商、发展伙伴、融资机构和其他利益相关方</a:t>
            </a:r>
            <a:r>
              <a:rPr lang="zh-CN" sz="1600" b="1" i="0" u="none" baseline="0" dirty="0">
                <a:solidFill>
                  <a:srgbClr val="BC322D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提供了一个参与平台</a:t>
            </a:r>
            <a:r>
              <a:rPr lang="zh-CN" sz="1600" b="1" i="0" u="none" baseline="0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。</a:t>
            </a:r>
          </a:p>
        </p:txBody>
      </p: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CDDDC067-2A0F-38A4-9D29-9E878204CE0F}"/>
              </a:ext>
            </a:extLst>
          </p:cNvPr>
          <p:cNvSpPr txBox="1">
            <a:spLocks/>
          </p:cNvSpPr>
          <p:nvPr/>
        </p:nvSpPr>
        <p:spPr>
          <a:xfrm>
            <a:off x="1604319" y="3169275"/>
            <a:ext cx="4135785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rtl="0"/>
            <a:r>
              <a:rPr lang="zh-CN" sz="1600" b="1" i="0" u="none" baseline="0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论坛的首要目标是</a:t>
            </a:r>
            <a:r>
              <a:rPr lang="zh-CN" sz="1600" b="1" i="0" u="none" baseline="0" dirty="0">
                <a:solidFill>
                  <a:srgbClr val="BC322D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促进</a:t>
            </a:r>
            <a:r>
              <a:rPr lang="zh-CN" sz="1600" b="1" i="0" u="none" baseline="0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各方之间的对话，加快启动新的可持续能源项目，并为这些项目进行融资。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EBA57632-8337-D681-3E92-D3071477A0AA}"/>
              </a:ext>
            </a:extLst>
          </p:cNvPr>
          <p:cNvSpPr txBox="1">
            <a:spLocks/>
          </p:cNvSpPr>
          <p:nvPr/>
        </p:nvSpPr>
        <p:spPr>
          <a:xfrm>
            <a:off x="1604319" y="4733958"/>
            <a:ext cx="4135785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rtl="0"/>
            <a:r>
              <a:rPr lang="zh-CN" sz="1600" b="1" i="0" u="none" baseline="0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0个CAREC成员国</a:t>
            </a:r>
            <a:r>
              <a:rPr lang="zh-CN" sz="1600" b="1" i="0" u="none" baseline="0" dirty="0">
                <a:solidFill>
                  <a:srgbClr val="BC322D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将揭晓</a:t>
            </a:r>
            <a:r>
              <a:rPr lang="zh-CN" sz="1600" b="1" i="0" u="none" baseline="0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未来在太阳能、风能、水力发电到节能增效和可持续供暖等领域的投资机会。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FF06562-E9DB-46E3-9B03-E7FD10A6516C}"/>
              </a:ext>
            </a:extLst>
          </p:cNvPr>
          <p:cNvSpPr/>
          <p:nvPr/>
        </p:nvSpPr>
        <p:spPr>
          <a:xfrm>
            <a:off x="6094476" y="1345892"/>
            <a:ext cx="5678964" cy="1565133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zh-CN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56AD995-9495-C644-A6B9-B1DC688477C9}"/>
              </a:ext>
            </a:extLst>
          </p:cNvPr>
          <p:cNvSpPr/>
          <p:nvPr/>
        </p:nvSpPr>
        <p:spPr>
          <a:xfrm>
            <a:off x="6130447" y="2997381"/>
            <a:ext cx="5678964" cy="151255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zh-CN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E11D4689-F401-6878-22E3-4B6668832794}"/>
              </a:ext>
            </a:extLst>
          </p:cNvPr>
          <p:cNvSpPr/>
          <p:nvPr/>
        </p:nvSpPr>
        <p:spPr>
          <a:xfrm>
            <a:off x="6130447" y="4596126"/>
            <a:ext cx="5678964" cy="1512551"/>
          </a:xfrm>
          <a:prstGeom prst="rect">
            <a:avLst/>
          </a:prstGeom>
          <a:solidFill>
            <a:schemeClr val="accent3">
              <a:alpha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zh-CN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31BCD6-4A16-2715-389E-1DCBB8E93B26}"/>
              </a:ext>
            </a:extLst>
          </p:cNvPr>
          <p:cNvSpPr txBox="1">
            <a:spLocks/>
          </p:cNvSpPr>
          <p:nvPr/>
        </p:nvSpPr>
        <p:spPr>
          <a:xfrm>
            <a:off x="7379686" y="3380982"/>
            <a:ext cx="4296528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rtl="0"/>
            <a:r>
              <a:rPr lang="zh-CN" sz="1600" b="1" i="0" u="none" baseline="0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今年的论坛将新能源项目</a:t>
            </a:r>
            <a:r>
              <a:rPr lang="zh-CN" sz="1600" b="1" i="0" u="none" baseline="0" dirty="0">
                <a:solidFill>
                  <a:srgbClr val="BC322D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作为重中之重</a:t>
            </a:r>
            <a:r>
              <a:rPr lang="zh-CN" sz="1600" b="1" i="0" u="none" baseline="0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。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89C35CE4-3829-8211-EE7E-B76E5EFD14F0}"/>
              </a:ext>
            </a:extLst>
          </p:cNvPr>
          <p:cNvSpPr txBox="1">
            <a:spLocks/>
          </p:cNvSpPr>
          <p:nvPr/>
        </p:nvSpPr>
        <p:spPr>
          <a:xfrm>
            <a:off x="7441425" y="4747470"/>
            <a:ext cx="4296528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rtl="0"/>
            <a:r>
              <a:rPr lang="zh-CN" sz="1600" b="1" i="0" u="none" baseline="0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我们还在计划中穿插了引人注目的系列演讲，探讨了有关该地区</a:t>
            </a:r>
            <a:r>
              <a:rPr lang="zh-CN" sz="1600" b="1" i="0" u="none" baseline="0" dirty="0">
                <a:solidFill>
                  <a:srgbClr val="BC322D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能源转型的重要议题</a:t>
            </a:r>
            <a:r>
              <a:rPr lang="zh-CN" sz="1600" b="1" i="0" u="none" baseline="0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。</a:t>
            </a:r>
          </a:p>
        </p:txBody>
      </p:sp>
      <p:pic>
        <p:nvPicPr>
          <p:cNvPr id="27" name="Picture 26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62BDC96-9D38-C49E-E496-856C542C8AE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15" y="3296456"/>
            <a:ext cx="914400" cy="914400"/>
          </a:xfrm>
          <a:prstGeom prst="rect">
            <a:avLst/>
          </a:prstGeom>
        </p:spPr>
      </p:pic>
      <p:pic>
        <p:nvPicPr>
          <p:cNvPr id="28" name="Picture 2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E7FF486-4A12-4AE5-7F44-000F6241717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478" y="3296456"/>
            <a:ext cx="914400" cy="914400"/>
          </a:xfrm>
          <a:prstGeom prst="rect">
            <a:avLst/>
          </a:prstGeom>
        </p:spPr>
      </p:pic>
      <p:pic>
        <p:nvPicPr>
          <p:cNvPr id="29" name="Picture 2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8610DC4C-C106-39AF-8EEA-1D44092FA27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478" y="4818142"/>
            <a:ext cx="914400" cy="914400"/>
          </a:xfrm>
          <a:prstGeom prst="rect">
            <a:avLst/>
          </a:prstGeom>
        </p:spPr>
      </p:pic>
      <p:pic>
        <p:nvPicPr>
          <p:cNvPr id="30" name="Picture 2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05FD483E-33E2-9921-3A07-CCAA4D6C039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478" y="1651226"/>
            <a:ext cx="914400" cy="914400"/>
          </a:xfrm>
          <a:prstGeom prst="rect">
            <a:avLst/>
          </a:prstGeom>
        </p:spPr>
      </p:pic>
      <p:pic>
        <p:nvPicPr>
          <p:cNvPr id="31" name="Picture 30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7A121BF-E70B-D5F1-63A1-176C5DEEF71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15" y="4818142"/>
            <a:ext cx="914400" cy="914400"/>
          </a:xfrm>
          <a:prstGeom prst="rect">
            <a:avLst/>
          </a:prstGeom>
        </p:spPr>
      </p:pic>
      <p:pic>
        <p:nvPicPr>
          <p:cNvPr id="32" name="Picture 3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62D8A9E2-871C-F43E-87BF-0DCB90B4413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015" y="1651226"/>
            <a:ext cx="914400" cy="914400"/>
          </a:xfrm>
          <a:prstGeom prst="rect">
            <a:avLst/>
          </a:prstGeom>
        </p:spPr>
      </p:pic>
      <p:sp>
        <p:nvSpPr>
          <p:cNvPr id="33" name="Title 7">
            <a:extLst>
              <a:ext uri="{FF2B5EF4-FFF2-40B4-BE49-F238E27FC236}">
                <a16:creationId xmlns:a16="http://schemas.microsoft.com/office/drawing/2014/main" id="{2692C62E-9B39-63B8-1132-428D3F3F10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340" y="309099"/>
            <a:ext cx="10506456" cy="1119116"/>
          </a:xfrm>
        </p:spPr>
        <p:txBody>
          <a:bodyPr vert="horz" anchor="ctr">
            <a:normAutofit/>
          </a:bodyPr>
          <a:lstStyle/>
          <a:p>
            <a:pPr algn="l" rtl="0">
              <a:lnSpc>
                <a:spcPct val="100000"/>
              </a:lnSpc>
            </a:pPr>
            <a:r>
              <a:rPr lang="zh-CN" sz="4000" b="1" i="0" u="none" baseline="0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会议目标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86E34D12-425B-19D1-2CA9-4B97BAE717AF}"/>
              </a:ext>
            </a:extLst>
          </p:cNvPr>
          <p:cNvSpPr txBox="1">
            <a:spLocks/>
          </p:cNvSpPr>
          <p:nvPr/>
        </p:nvSpPr>
        <p:spPr>
          <a:xfrm>
            <a:off x="7346424" y="1464541"/>
            <a:ext cx="4363053" cy="643885"/>
          </a:xfrm>
          <a:prstGeom prst="rect">
            <a:avLst/>
          </a:prstGeom>
          <a:noFill/>
        </p:spPr>
        <p:txBody>
          <a:bodyPr lIns="182880" tIns="0" rIns="182880" bIns="0" anchor="t">
            <a:noAutofit/>
          </a:bodyPr>
          <a:lstStyle>
            <a:lvl1pPr marL="0" indent="0" algn="ctr" defTabSz="914377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rtl="0"/>
            <a:r>
              <a:rPr lang="zh-CN" sz="1600" b="1" i="0" u="none" baseline="0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重点是参考开发银行、私营部门开发商和关键区域利益相关方的见解，</a:t>
            </a:r>
            <a:r>
              <a:rPr lang="zh-CN" sz="1600" b="1" i="0" u="none" baseline="0" dirty="0">
                <a:solidFill>
                  <a:srgbClr val="BC322D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加快项目融资，</a:t>
            </a:r>
            <a:r>
              <a:rPr lang="zh-CN" sz="1600" b="1" i="0" u="none" baseline="0" dirty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确保项目资金及时到位。</a:t>
            </a:r>
          </a:p>
        </p:txBody>
      </p:sp>
    </p:spTree>
    <p:extLst>
      <p:ext uri="{BB962C8B-B14F-4D97-AF65-F5344CB8AC3E}">
        <p14:creationId xmlns:p14="http://schemas.microsoft.com/office/powerpoint/2010/main" val="40033254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9E38B2-F366-0632-198E-3F040A36B7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7330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9E38B2-F366-0632-198E-3F040A36B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71AAFB-1570-A76A-76E6-A95FEF87A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rtl="0"/>
            <a:fld id="{3A24711B-2BBD-4434-9CFE-8F1E27B5618A}" type="slidenum">
              <a:rPr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pPr algn="r" rtl="0"/>
              <a:t>4</a:t>
            </a:fld>
            <a:endParaRPr lang="zh-CN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6" name="ïsḷíḓè">
            <a:extLst>
              <a:ext uri="{FF2B5EF4-FFF2-40B4-BE49-F238E27FC236}">
                <a16:creationId xmlns:a16="http://schemas.microsoft.com/office/drawing/2014/main" id="{3BC0A284-3DF3-97DA-1444-7E85F0C7EB4B}"/>
              </a:ext>
            </a:extLst>
          </p:cNvPr>
          <p:cNvSpPr/>
          <p:nvPr/>
        </p:nvSpPr>
        <p:spPr>
          <a:xfrm>
            <a:off x="3269056" y="1530565"/>
            <a:ext cx="3830971" cy="381909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b" anchorCtr="0">
            <a:sp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kumimoji="1" lang="zh-CN" b="0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英国广播公司（BBC）前主持人</a:t>
            </a:r>
            <a:r>
              <a:rPr kumimoji="1" lang="zh-CN" b="1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尼莎·皮莱</a:t>
            </a:r>
            <a:r>
              <a:rPr kumimoji="1" lang="zh-CN" b="0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（Nisha Pillai）将担任此次论坛</a:t>
            </a:r>
            <a:r>
              <a:rPr kumimoji="1" lang="zh-CN" b="1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主持人</a:t>
            </a:r>
            <a:r>
              <a:rPr kumimoji="1" lang="zh-CN" b="0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。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kumimoji="1" lang="zh-CN" b="0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大部分内部和外部</a:t>
            </a:r>
            <a:r>
              <a:rPr kumimoji="1" lang="zh-CN" b="1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演讲嘉宾均已确定</a:t>
            </a:r>
            <a:r>
              <a:rPr kumimoji="1" lang="zh-CN" b="0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。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kumimoji="1" lang="zh-CN" b="1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计划组织两场</a:t>
            </a:r>
            <a:r>
              <a:rPr kumimoji="1" lang="zh-CN" b="0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圆桌讨论，包括（i）私营部门圆桌讨论；和（ii）发展伙伴圆桌讨论。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kumimoji="1" lang="zh-CN" b="1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AREC成员国政府代表</a:t>
            </a:r>
            <a:r>
              <a:rPr kumimoji="1" lang="zh-CN" b="0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将分别发表10~15分钟的演讲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kumimoji="1" lang="zh-CN" b="0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穿插演讲意在增加论坛的趣味性和吸引力。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kumimoji="1" lang="zh-CN" b="1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第2天将组织论坛对接会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A29746A-05E3-AF0D-5EE5-A06D8F452086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000" t="6251" r="65519" b="30131"/>
          <a:stretch/>
        </p:blipFill>
        <p:spPr>
          <a:xfrm>
            <a:off x="171969" y="1330240"/>
            <a:ext cx="2985228" cy="2221343"/>
          </a:xfrm>
          <a:prstGeom prst="rect">
            <a:avLst/>
          </a:prstGeom>
        </p:spPr>
      </p:pic>
      <p:cxnSp>
        <p:nvCxnSpPr>
          <p:cNvPr id="9" name="í$lïḍé">
            <a:extLst>
              <a:ext uri="{FF2B5EF4-FFF2-40B4-BE49-F238E27FC236}">
                <a16:creationId xmlns:a16="http://schemas.microsoft.com/office/drawing/2014/main" id="{517501E7-4FB6-227A-5FC3-9ACFEFEA4B28}"/>
              </a:ext>
            </a:extLst>
          </p:cNvPr>
          <p:cNvCxnSpPr>
            <a:cxnSpLocks/>
          </p:cNvCxnSpPr>
          <p:nvPr/>
        </p:nvCxnSpPr>
        <p:spPr>
          <a:xfrm>
            <a:off x="4062658" y="6273153"/>
            <a:ext cx="7804664" cy="23563"/>
          </a:xfrm>
          <a:prstGeom prst="line">
            <a:avLst/>
          </a:prstGeom>
          <a:ln w="254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îs1ïďè">
            <a:extLst>
              <a:ext uri="{FF2B5EF4-FFF2-40B4-BE49-F238E27FC236}">
                <a16:creationId xmlns:a16="http://schemas.microsoft.com/office/drawing/2014/main" id="{3C24190D-6B9C-9709-1CFB-E4ABFCFDB483}"/>
              </a:ext>
            </a:extLst>
          </p:cNvPr>
          <p:cNvGrpSpPr/>
          <p:nvPr/>
        </p:nvGrpSpPr>
        <p:grpSpPr>
          <a:xfrm>
            <a:off x="5471968" y="6057129"/>
            <a:ext cx="432048" cy="432048"/>
            <a:chOff x="4264950" y="5651169"/>
            <a:chExt cx="432048" cy="432048"/>
          </a:xfrm>
        </p:grpSpPr>
        <p:sp>
          <p:nvSpPr>
            <p:cNvPr id="11" name="ïṩlîďe">
              <a:extLst>
                <a:ext uri="{FF2B5EF4-FFF2-40B4-BE49-F238E27FC236}">
                  <a16:creationId xmlns:a16="http://schemas.microsoft.com/office/drawing/2014/main" id="{3FBAB795-E467-B03A-D636-1B263319CCA2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zh-CN" altLang="en-US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2" name="iślïdé">
              <a:extLst>
                <a:ext uri="{FF2B5EF4-FFF2-40B4-BE49-F238E27FC236}">
                  <a16:creationId xmlns:a16="http://schemas.microsoft.com/office/drawing/2014/main" id="{622F799C-1E3B-9D39-1EBE-9931724C93D1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3" name="í$ľîḑè">
            <a:extLst>
              <a:ext uri="{FF2B5EF4-FFF2-40B4-BE49-F238E27FC236}">
                <a16:creationId xmlns:a16="http://schemas.microsoft.com/office/drawing/2014/main" id="{14AF69FA-0A75-BA39-FFA5-D500534B723F}"/>
              </a:ext>
            </a:extLst>
          </p:cNvPr>
          <p:cNvGrpSpPr/>
          <p:nvPr/>
        </p:nvGrpSpPr>
        <p:grpSpPr>
          <a:xfrm>
            <a:off x="11181480" y="6057129"/>
            <a:ext cx="432048" cy="432048"/>
            <a:chOff x="4264950" y="5651169"/>
            <a:chExt cx="432048" cy="432048"/>
          </a:xfrm>
        </p:grpSpPr>
        <p:sp>
          <p:nvSpPr>
            <p:cNvPr id="14" name="í$ľíḑè">
              <a:extLst>
                <a:ext uri="{FF2B5EF4-FFF2-40B4-BE49-F238E27FC236}">
                  <a16:creationId xmlns:a16="http://schemas.microsoft.com/office/drawing/2014/main" id="{4C0625B8-BD84-36F4-891F-45F6FC0B275F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zh-CN" altLang="en-US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ísḻiḍê">
              <a:extLst>
                <a:ext uri="{FF2B5EF4-FFF2-40B4-BE49-F238E27FC236}">
                  <a16:creationId xmlns:a16="http://schemas.microsoft.com/office/drawing/2014/main" id="{064A02FB-66C1-EE14-C5BD-5605F8ADB252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Title 7">
            <a:extLst>
              <a:ext uri="{FF2B5EF4-FFF2-40B4-BE49-F238E27FC236}">
                <a16:creationId xmlns:a16="http://schemas.microsoft.com/office/drawing/2014/main" id="{6F0ABB95-227F-708A-C8F0-0E1C6229E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740" y="173236"/>
            <a:ext cx="8813748" cy="1092032"/>
          </a:xfrm>
        </p:spPr>
        <p:txBody>
          <a:bodyPr vert="horz" anchor="ctr">
            <a:normAutofit/>
          </a:bodyPr>
          <a:lstStyle/>
          <a:p>
            <a:pPr algn="l" rtl="0">
              <a:lnSpc>
                <a:spcPct val="100000"/>
              </a:lnSpc>
            </a:pPr>
            <a:r>
              <a:rPr lang="zh-CN" sz="3200" b="1" i="0" u="none" baseline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第六届中亚区域经济合作能源投资论坛概况</a:t>
            </a:r>
          </a:p>
        </p:txBody>
      </p:sp>
      <p:sp>
        <p:nvSpPr>
          <p:cNvPr id="23" name="ïsḷíḓè">
            <a:extLst>
              <a:ext uri="{FF2B5EF4-FFF2-40B4-BE49-F238E27FC236}">
                <a16:creationId xmlns:a16="http://schemas.microsoft.com/office/drawing/2014/main" id="{545247DD-0982-3C32-9273-6F0D492F44AA}"/>
              </a:ext>
            </a:extLst>
          </p:cNvPr>
          <p:cNvSpPr/>
          <p:nvPr/>
        </p:nvSpPr>
        <p:spPr>
          <a:xfrm>
            <a:off x="8441635" y="1563975"/>
            <a:ext cx="3425688" cy="29880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108000" rIns="108000" bIns="108000" rtlCol="0" anchor="b" anchorCtr="0">
            <a:spAutoFit/>
          </a:bodyPr>
          <a:lstStyle/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kumimoji="1" lang="zh-CN" b="0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我们期望建立</a:t>
            </a:r>
            <a:r>
              <a:rPr kumimoji="1" lang="zh-CN" b="1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开发商、开发银行和CAREC成员国政府之间沟通的桥梁。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kumimoji="1" lang="zh-CN" b="1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每个国家将设立一个展台，</a:t>
            </a:r>
            <a:r>
              <a:rPr kumimoji="1" lang="zh-CN" b="0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以便该国政府官员与其他潜在利益相关方进行座谈。 </a:t>
            </a:r>
          </a:p>
          <a:p>
            <a:pPr marL="285750" indent="-285750" algn="l" rtl="0">
              <a:buFont typeface="Arial" panose="020B0604020202020204" pitchFamily="34" charset="0"/>
              <a:buChar char="•"/>
            </a:pPr>
            <a:r>
              <a:rPr kumimoji="1" lang="zh-CN" b="0" i="0" u="none" baseline="0" dirty="0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参会人员分为10个小组，循环参观各个展台，每隔15分钟轮转一次。响铃即表示需起身前往下一个展台。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FBA2E48-315E-5854-52C0-E53B7CFEAC7E}"/>
              </a:ext>
            </a:extLst>
          </p:cNvPr>
          <p:cNvSpPr txBox="1"/>
          <p:nvPr/>
        </p:nvSpPr>
        <p:spPr>
          <a:xfrm>
            <a:off x="3312910" y="1194643"/>
            <a:ext cx="30811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zh-CN" b="0" i="0" u="sng" baseline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概况：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4CC1FD8-6FB8-B513-1548-464B4C3E5F85}"/>
              </a:ext>
            </a:extLst>
          </p:cNvPr>
          <p:cNvSpPr txBox="1"/>
          <p:nvPr/>
        </p:nvSpPr>
        <p:spPr>
          <a:xfrm>
            <a:off x="8441634" y="1231339"/>
            <a:ext cx="30811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zh-CN" b="0" i="0" u="sng" baseline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对接活动：</a:t>
            </a:r>
          </a:p>
        </p:txBody>
      </p:sp>
      <p:pic>
        <p:nvPicPr>
          <p:cNvPr id="27" name="Picture 26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59A411EF-ADAC-A203-5FDC-5E82C178D5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3631" y="137930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56027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9E38B2-F366-0632-198E-3F040A36B7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0297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9E38B2-F366-0632-198E-3F040A36B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71AAFB-1570-A76A-76E6-A95FEF87A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rtl="0"/>
            <a:fld id="{3A24711B-2BBD-4434-9CFE-8F1E27B5618A}" type="slidenum">
              <a:rPr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pPr algn="r" rtl="0"/>
              <a:t>5</a:t>
            </a:fld>
            <a:endParaRPr lang="zh-CN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cxnSp>
        <p:nvCxnSpPr>
          <p:cNvPr id="9" name="í$lïḍé">
            <a:extLst>
              <a:ext uri="{FF2B5EF4-FFF2-40B4-BE49-F238E27FC236}">
                <a16:creationId xmlns:a16="http://schemas.microsoft.com/office/drawing/2014/main" id="{517501E7-4FB6-227A-5FC3-9ACFEFEA4B28}"/>
              </a:ext>
            </a:extLst>
          </p:cNvPr>
          <p:cNvCxnSpPr>
            <a:cxnSpLocks/>
          </p:cNvCxnSpPr>
          <p:nvPr/>
        </p:nvCxnSpPr>
        <p:spPr>
          <a:xfrm>
            <a:off x="4062658" y="6273153"/>
            <a:ext cx="7804664" cy="23563"/>
          </a:xfrm>
          <a:prstGeom prst="line">
            <a:avLst/>
          </a:prstGeom>
          <a:ln w="254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îs1ïďè">
            <a:extLst>
              <a:ext uri="{FF2B5EF4-FFF2-40B4-BE49-F238E27FC236}">
                <a16:creationId xmlns:a16="http://schemas.microsoft.com/office/drawing/2014/main" id="{3C24190D-6B9C-9709-1CFB-E4ABFCFDB483}"/>
              </a:ext>
            </a:extLst>
          </p:cNvPr>
          <p:cNvGrpSpPr/>
          <p:nvPr/>
        </p:nvGrpSpPr>
        <p:grpSpPr>
          <a:xfrm>
            <a:off x="5471968" y="6057129"/>
            <a:ext cx="432048" cy="432048"/>
            <a:chOff x="4264950" y="5651169"/>
            <a:chExt cx="432048" cy="432048"/>
          </a:xfrm>
        </p:grpSpPr>
        <p:sp>
          <p:nvSpPr>
            <p:cNvPr id="11" name="ïṩlîďe">
              <a:extLst>
                <a:ext uri="{FF2B5EF4-FFF2-40B4-BE49-F238E27FC236}">
                  <a16:creationId xmlns:a16="http://schemas.microsoft.com/office/drawing/2014/main" id="{3FBAB795-E467-B03A-D636-1B263319CCA2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zh-CN" altLang="en-US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2" name="iślïdé">
              <a:extLst>
                <a:ext uri="{FF2B5EF4-FFF2-40B4-BE49-F238E27FC236}">
                  <a16:creationId xmlns:a16="http://schemas.microsoft.com/office/drawing/2014/main" id="{622F799C-1E3B-9D39-1EBE-9931724C93D1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3" name="í$ľîḑè">
            <a:extLst>
              <a:ext uri="{FF2B5EF4-FFF2-40B4-BE49-F238E27FC236}">
                <a16:creationId xmlns:a16="http://schemas.microsoft.com/office/drawing/2014/main" id="{14AF69FA-0A75-BA39-FFA5-D500534B723F}"/>
              </a:ext>
            </a:extLst>
          </p:cNvPr>
          <p:cNvGrpSpPr/>
          <p:nvPr/>
        </p:nvGrpSpPr>
        <p:grpSpPr>
          <a:xfrm>
            <a:off x="11181480" y="6057129"/>
            <a:ext cx="432048" cy="432048"/>
            <a:chOff x="4264950" y="5651169"/>
            <a:chExt cx="432048" cy="432048"/>
          </a:xfrm>
        </p:grpSpPr>
        <p:sp>
          <p:nvSpPr>
            <p:cNvPr id="14" name="í$ľíḑè">
              <a:extLst>
                <a:ext uri="{FF2B5EF4-FFF2-40B4-BE49-F238E27FC236}">
                  <a16:creationId xmlns:a16="http://schemas.microsoft.com/office/drawing/2014/main" id="{4C0625B8-BD84-36F4-891F-45F6FC0B275F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zh-CN" altLang="en-US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ísḻiḍê">
              <a:extLst>
                <a:ext uri="{FF2B5EF4-FFF2-40B4-BE49-F238E27FC236}">
                  <a16:creationId xmlns:a16="http://schemas.microsoft.com/office/drawing/2014/main" id="{064A02FB-66C1-EE14-C5BD-5605F8ADB252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Title 7">
            <a:extLst>
              <a:ext uri="{FF2B5EF4-FFF2-40B4-BE49-F238E27FC236}">
                <a16:creationId xmlns:a16="http://schemas.microsoft.com/office/drawing/2014/main" id="{6F0ABB95-227F-708A-C8F0-0E1C6229E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740" y="173236"/>
            <a:ext cx="10506456" cy="530150"/>
          </a:xfrm>
        </p:spPr>
        <p:txBody>
          <a:bodyPr vert="horz" anchor="ctr">
            <a:normAutofit fontScale="90000"/>
          </a:bodyPr>
          <a:lstStyle/>
          <a:p>
            <a:pPr algn="l" rtl="0">
              <a:lnSpc>
                <a:spcPct val="100000"/>
              </a:lnSpc>
            </a:pPr>
            <a:r>
              <a:rPr lang="zh-CN" sz="3200" b="1" i="0" u="none" baseline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CAREC成员国政府的期待 </a:t>
            </a:r>
            <a:endParaRPr lang="zh-CN" sz="3200" b="1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F6C22850-FEBA-2936-9186-420BA9D05A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06995" y="1135645"/>
            <a:ext cx="5958329" cy="3954494"/>
          </a:xfrm>
        </p:spPr>
        <p:txBody>
          <a:bodyPr anchor="ctr">
            <a:noAutofit/>
          </a:bodyPr>
          <a:lstStyle/>
          <a:p>
            <a:pPr algn="l" rtl="0">
              <a:lnSpc>
                <a:spcPct val="100000"/>
              </a:lnSpc>
            </a:pPr>
            <a:r>
              <a:rPr lang="zh-CN" sz="2000" b="0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每个CAREC成员国将有</a:t>
            </a:r>
            <a:r>
              <a:rPr lang="zh-CN" sz="2000" b="1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5分钟的时间介绍</a:t>
            </a:r>
            <a:r>
              <a:rPr lang="zh-CN" sz="2000" b="0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各自国家的</a:t>
            </a:r>
            <a:r>
              <a:rPr lang="zh-CN" sz="2000" b="1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投资机会</a:t>
            </a:r>
            <a:r>
              <a:rPr lang="zh-CN" sz="2000" b="0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。</a:t>
            </a:r>
          </a:p>
          <a:p>
            <a:pPr algn="l" rtl="0">
              <a:lnSpc>
                <a:spcPct val="100000"/>
              </a:lnSpc>
            </a:pPr>
            <a:r>
              <a:rPr lang="zh-CN" sz="2000" b="0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已要求CAREC成员国准备</a:t>
            </a:r>
            <a:r>
              <a:rPr lang="zh-CN" sz="2000" b="1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两个及以上可投资项目的资料</a:t>
            </a:r>
            <a:r>
              <a:rPr lang="zh-CN" sz="2000" b="0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，在演讲中进行展示。</a:t>
            </a:r>
          </a:p>
          <a:p>
            <a:pPr algn="l" rtl="0">
              <a:lnSpc>
                <a:spcPct val="100000"/>
              </a:lnSpc>
            </a:pPr>
            <a:r>
              <a:rPr lang="zh-CN" sz="2000" b="0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务必于</a:t>
            </a:r>
            <a:r>
              <a:rPr lang="zh-CN" sz="2000" b="1" i="0" u="none" baseline="0" dirty="0">
                <a:solidFill>
                  <a:srgbClr val="BC322D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10月20日前</a:t>
            </a:r>
            <a:r>
              <a:rPr lang="zh-CN" sz="2000" b="0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发送演示文稿和项目信息。</a:t>
            </a:r>
            <a:r>
              <a:rPr lang="zh-CN" sz="2000" b="0" i="1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（我们很乐意帮助政府代表尽可能成就精彩演讲。）</a:t>
            </a:r>
          </a:p>
          <a:p>
            <a:pPr algn="l" rtl="0">
              <a:lnSpc>
                <a:spcPct val="100000"/>
              </a:lnSpc>
            </a:pPr>
            <a:r>
              <a:rPr lang="zh-CN" sz="2000" b="1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请跟进贵国代表有关此次演讲和项目信息的进展。</a:t>
            </a:r>
          </a:p>
          <a:p>
            <a:pPr algn="l" rtl="0">
              <a:lnSpc>
                <a:spcPct val="100000"/>
              </a:lnSpc>
            </a:pPr>
            <a:r>
              <a:rPr lang="zh-CN" sz="2000" b="0" i="1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另：CAREC能源投资论坛的邀请函已于9月发出。目前</a:t>
            </a:r>
            <a:r>
              <a:rPr lang="zh-CN" sz="2000" b="1" i="1" u="none" baseline="0" dirty="0">
                <a:solidFill>
                  <a:srgbClr val="BC322D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仅有</a:t>
            </a:r>
            <a:r>
              <a:rPr lang="en-US" altLang="zh-CN" sz="2000" b="1" i="1" u="none" baseline="0" dirty="0">
                <a:solidFill>
                  <a:srgbClr val="BC322D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8</a:t>
            </a:r>
            <a:r>
              <a:rPr lang="zh-CN" sz="2000" b="1" i="1" u="none" baseline="0" dirty="0">
                <a:solidFill>
                  <a:srgbClr val="BC322D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个国家回复了推荐参会人员</a:t>
            </a:r>
            <a:r>
              <a:rPr lang="zh-CN" sz="2000" b="0" i="1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。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C306526-B936-5495-7646-B7394AF1397B}"/>
              </a:ext>
            </a:extLst>
          </p:cNvPr>
          <p:cNvSpPr txBox="1"/>
          <p:nvPr/>
        </p:nvSpPr>
        <p:spPr>
          <a:xfrm>
            <a:off x="7696200" y="1656128"/>
            <a:ext cx="3926503" cy="34511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>
                <a:latin typeface="Century Gothic" panose="020B0502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 algn="just" rtl="0">
              <a:lnSpc>
                <a:spcPct val="100000"/>
              </a:lnSpc>
              <a:buNone/>
            </a:pPr>
            <a:r>
              <a:rPr lang="zh-CN" sz="2400" b="1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第2天举行的对接活动 </a:t>
            </a:r>
          </a:p>
          <a:p>
            <a:pPr marL="0" indent="0" algn="just" rtl="0">
              <a:lnSpc>
                <a:spcPct val="100000"/>
              </a:lnSpc>
              <a:spcBef>
                <a:spcPts val="0"/>
              </a:spcBef>
              <a:buNone/>
            </a:pPr>
            <a:r>
              <a:rPr lang="zh-CN" sz="2400" b="1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（11月29日）：</a:t>
            </a:r>
          </a:p>
          <a:p>
            <a:pPr algn="just" rtl="0">
              <a:lnSpc>
                <a:spcPct val="100000"/>
              </a:lnSpc>
            </a:pPr>
            <a:r>
              <a:rPr lang="zh-CN" sz="2400" b="0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我们希望每个成员国能自备手册、宣传单等资料，以便在各个展台分发，例如，有关在A国或其他国家投资的资料手册。</a:t>
            </a:r>
          </a:p>
        </p:txBody>
      </p:sp>
      <p:pic>
        <p:nvPicPr>
          <p:cNvPr id="28" name="Picture 2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D11689D5-1943-F67F-51F6-37F99070635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95" y="1546864"/>
            <a:ext cx="914400" cy="914400"/>
          </a:xfrm>
          <a:prstGeom prst="rect">
            <a:avLst/>
          </a:prstGeom>
        </p:spPr>
      </p:pic>
      <p:pic>
        <p:nvPicPr>
          <p:cNvPr id="30" name="Picture 2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DC98A97E-9960-C63F-CB89-07216E4822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595" y="2829127"/>
            <a:ext cx="914400" cy="914400"/>
          </a:xfrm>
          <a:prstGeom prst="rect">
            <a:avLst/>
          </a:prstGeom>
        </p:spPr>
      </p:pic>
      <p:pic>
        <p:nvPicPr>
          <p:cNvPr id="32" name="Picture 31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EA0F268-1A46-E3DB-CA74-8473F3BE146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6200" y="722557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1585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E9E38B2-F366-0632-198E-3F040A36B7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4738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E9E38B2-F366-0632-198E-3F040A36B7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71AAFB-1570-A76A-76E6-A95FEF87A1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rtl="0"/>
            <a:fld id="{3A24711B-2BBD-4434-9CFE-8F1E27B5618A}" type="slidenum">
              <a:rPr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pPr algn="r" rtl="0"/>
              <a:t>6</a:t>
            </a:fld>
            <a:endParaRPr lang="zh-CN"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cxnSp>
        <p:nvCxnSpPr>
          <p:cNvPr id="9" name="í$lïḍé">
            <a:extLst>
              <a:ext uri="{FF2B5EF4-FFF2-40B4-BE49-F238E27FC236}">
                <a16:creationId xmlns:a16="http://schemas.microsoft.com/office/drawing/2014/main" id="{517501E7-4FB6-227A-5FC3-9ACFEFEA4B28}"/>
              </a:ext>
            </a:extLst>
          </p:cNvPr>
          <p:cNvCxnSpPr>
            <a:cxnSpLocks/>
          </p:cNvCxnSpPr>
          <p:nvPr/>
        </p:nvCxnSpPr>
        <p:spPr>
          <a:xfrm>
            <a:off x="4062658" y="6273153"/>
            <a:ext cx="7804664" cy="23563"/>
          </a:xfrm>
          <a:prstGeom prst="line">
            <a:avLst/>
          </a:prstGeom>
          <a:ln w="25400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îs1ïďè">
            <a:extLst>
              <a:ext uri="{FF2B5EF4-FFF2-40B4-BE49-F238E27FC236}">
                <a16:creationId xmlns:a16="http://schemas.microsoft.com/office/drawing/2014/main" id="{3C24190D-6B9C-9709-1CFB-E4ABFCFDB483}"/>
              </a:ext>
            </a:extLst>
          </p:cNvPr>
          <p:cNvGrpSpPr/>
          <p:nvPr/>
        </p:nvGrpSpPr>
        <p:grpSpPr>
          <a:xfrm>
            <a:off x="5471968" y="6057129"/>
            <a:ext cx="432048" cy="432048"/>
            <a:chOff x="4264950" y="5651169"/>
            <a:chExt cx="432048" cy="432048"/>
          </a:xfrm>
        </p:grpSpPr>
        <p:sp>
          <p:nvSpPr>
            <p:cNvPr id="11" name="ïṩlîďe">
              <a:extLst>
                <a:ext uri="{FF2B5EF4-FFF2-40B4-BE49-F238E27FC236}">
                  <a16:creationId xmlns:a16="http://schemas.microsoft.com/office/drawing/2014/main" id="{3FBAB795-E467-B03A-D636-1B263319CCA2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zh-CN" altLang="en-US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2" name="iślïdé">
              <a:extLst>
                <a:ext uri="{FF2B5EF4-FFF2-40B4-BE49-F238E27FC236}">
                  <a16:creationId xmlns:a16="http://schemas.microsoft.com/office/drawing/2014/main" id="{622F799C-1E3B-9D39-1EBE-9931724C93D1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grpSp>
        <p:nvGrpSpPr>
          <p:cNvPr id="13" name="í$ľîḑè">
            <a:extLst>
              <a:ext uri="{FF2B5EF4-FFF2-40B4-BE49-F238E27FC236}">
                <a16:creationId xmlns:a16="http://schemas.microsoft.com/office/drawing/2014/main" id="{14AF69FA-0A75-BA39-FFA5-D500534B723F}"/>
              </a:ext>
            </a:extLst>
          </p:cNvPr>
          <p:cNvGrpSpPr/>
          <p:nvPr/>
        </p:nvGrpSpPr>
        <p:grpSpPr>
          <a:xfrm>
            <a:off x="11181480" y="6057129"/>
            <a:ext cx="432048" cy="432048"/>
            <a:chOff x="4264950" y="5651169"/>
            <a:chExt cx="432048" cy="432048"/>
          </a:xfrm>
        </p:grpSpPr>
        <p:sp>
          <p:nvSpPr>
            <p:cNvPr id="14" name="í$ľíḑè">
              <a:extLst>
                <a:ext uri="{FF2B5EF4-FFF2-40B4-BE49-F238E27FC236}">
                  <a16:creationId xmlns:a16="http://schemas.microsoft.com/office/drawing/2014/main" id="{4C0625B8-BD84-36F4-891F-45F6FC0B275F}"/>
                </a:ext>
              </a:extLst>
            </p:cNvPr>
            <p:cNvSpPr/>
            <p:nvPr/>
          </p:nvSpPr>
          <p:spPr>
            <a:xfrm>
              <a:off x="4264950" y="5651169"/>
              <a:ext cx="432048" cy="43204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zh-CN" altLang="en-US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  <p:sp>
          <p:nvSpPr>
            <p:cNvPr id="15" name="ísḻiḍê">
              <a:extLst>
                <a:ext uri="{FF2B5EF4-FFF2-40B4-BE49-F238E27FC236}">
                  <a16:creationId xmlns:a16="http://schemas.microsoft.com/office/drawing/2014/main" id="{064A02FB-66C1-EE14-C5BD-5605F8ADB252}"/>
                </a:ext>
              </a:extLst>
            </p:cNvPr>
            <p:cNvSpPr/>
            <p:nvPr/>
          </p:nvSpPr>
          <p:spPr>
            <a:xfrm>
              <a:off x="4401650" y="5796308"/>
              <a:ext cx="158649" cy="158649"/>
            </a:xfrm>
            <a:prstGeom prst="chevron">
              <a:avLst/>
            </a:prstGeom>
            <a:solidFill>
              <a:schemeClr val="bg1"/>
            </a:solidFill>
            <a:ln w="6055" cap="flat">
              <a:noFill/>
              <a:prstDash val="solid"/>
              <a:miter/>
            </a:ln>
          </p:spPr>
          <p:txBody>
            <a:bodyPr lIns="108000" tIns="108000" rIns="108000" bIns="108000" rtlCol="0" anchor="ctr"/>
            <a:lstStyle/>
            <a:p>
              <a:endParaRPr lang="zh-CN" altLang="en-US">
                <a:solidFill>
                  <a:schemeClr val="tx1"/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endParaRPr>
            </a:p>
          </p:txBody>
        </p:sp>
      </p:grpSp>
      <p:sp>
        <p:nvSpPr>
          <p:cNvPr id="17" name="Title 7">
            <a:extLst>
              <a:ext uri="{FF2B5EF4-FFF2-40B4-BE49-F238E27FC236}">
                <a16:creationId xmlns:a16="http://schemas.microsoft.com/office/drawing/2014/main" id="{6F0ABB95-227F-708A-C8F0-0E1C6229E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739" y="173235"/>
            <a:ext cx="10613383" cy="860387"/>
          </a:xfrm>
        </p:spPr>
        <p:txBody>
          <a:bodyPr vert="horz" anchor="ctr">
            <a:normAutofit/>
          </a:bodyPr>
          <a:lstStyle/>
          <a:p>
            <a:pPr algn="l" rtl="0">
              <a:lnSpc>
                <a:spcPct val="100000"/>
              </a:lnSpc>
            </a:pPr>
            <a:r>
              <a:rPr lang="zh-CN" sz="3200" b="1" i="0" u="none" baseline="0">
                <a:solidFill>
                  <a:schemeClr val="accent5">
                    <a:lumMod val="75000"/>
                  </a:schemeClr>
                </a:solidFill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未来计划</a:t>
            </a:r>
            <a:endParaRPr lang="zh-CN" sz="3200" b="1">
              <a:solidFill>
                <a:schemeClr val="accent5">
                  <a:lumMod val="75000"/>
                </a:schemeClr>
              </a:solidFill>
              <a:latin typeface="Times New Roman" panose="02020603050405020304" pitchFamily="18" charset="0"/>
              <a:ea typeface="宋体" panose="02010600030101010101" pitchFamily="2" charset="-122"/>
              <a:cs typeface="Times New Roman" panose="02020603050405020304" pitchFamily="18" charset="0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20B30706-CF35-0C10-96AB-03485E0410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893099" y="1932290"/>
            <a:ext cx="9974223" cy="4302311"/>
          </a:xfrm>
        </p:spPr>
        <p:txBody>
          <a:bodyPr vert="horz" lIns="91440" tIns="45720" rIns="91440" bIns="45720" rtlCol="0" anchor="ctr">
            <a:noAutofit/>
          </a:bodyPr>
          <a:lstStyle/>
          <a:p>
            <a:pPr marL="0" indent="0" algn="l" rtl="0">
              <a:lnSpc>
                <a:spcPct val="100000"/>
              </a:lnSpc>
              <a:spcBef>
                <a:spcPts val="0"/>
              </a:spcBef>
              <a:spcAft>
                <a:spcPts val="5200"/>
              </a:spcAft>
              <a:buNone/>
            </a:pPr>
            <a:r>
              <a:rPr lang="zh-CN" sz="2400" b="0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2024年第一季度“互联互通和区域输电”研讨会</a:t>
            </a:r>
          </a:p>
          <a:p>
            <a:pPr marL="0" indent="0" algn="l" rtl="0">
              <a:lnSpc>
                <a:spcPct val="100000"/>
              </a:lnSpc>
              <a:spcBef>
                <a:spcPts val="0"/>
              </a:spcBef>
              <a:spcAft>
                <a:spcPts val="5200"/>
              </a:spcAft>
              <a:buNone/>
            </a:pPr>
            <a:r>
              <a:rPr lang="zh-CN" sz="2400" b="0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2024年前往发达能源交易市场（北欧地区）的游学活动（具体时间待定）。</a:t>
            </a:r>
          </a:p>
          <a:p>
            <a:pPr marL="0" indent="0" algn="l" rtl="0">
              <a:lnSpc>
                <a:spcPct val="100000"/>
              </a:lnSpc>
              <a:spcBef>
                <a:spcPts val="0"/>
              </a:spcBef>
              <a:spcAft>
                <a:spcPts val="5200"/>
              </a:spcAft>
              <a:buNone/>
            </a:pPr>
            <a:r>
              <a:rPr lang="zh-CN" sz="2400" b="0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2024年第四季度哈萨克斯坦（2024年CAREC轮值主席国）第七届能源投资论坛。</a:t>
            </a:r>
          </a:p>
          <a:p>
            <a:pPr marL="0" indent="0" algn="l" rtl="0">
              <a:lnSpc>
                <a:spcPct val="100000"/>
              </a:lnSpc>
              <a:spcBef>
                <a:spcPts val="0"/>
              </a:spcBef>
              <a:spcAft>
                <a:spcPts val="5200"/>
              </a:spcAft>
              <a:buNone/>
            </a:pPr>
            <a:r>
              <a:rPr lang="zh-CN" sz="2400" b="0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2025年第一季度“可持续供暖和节能增效”研讨会。</a:t>
            </a:r>
          </a:p>
        </p:txBody>
      </p:sp>
      <p:pic>
        <p:nvPicPr>
          <p:cNvPr id="18" name="Picture 17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45A30758-0C4D-58E4-FE32-F12C2B625B1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90" y="4129374"/>
            <a:ext cx="822960" cy="822960"/>
          </a:xfrm>
          <a:prstGeom prst="rect">
            <a:avLst/>
          </a:prstGeom>
        </p:spPr>
      </p:pic>
      <p:pic>
        <p:nvPicPr>
          <p:cNvPr id="19" name="Picture 18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25A849A0-33F0-2CB4-7518-D39B6C07BE3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379" y="2063362"/>
            <a:ext cx="731520" cy="731520"/>
          </a:xfrm>
          <a:prstGeom prst="rect">
            <a:avLst/>
          </a:prstGeom>
        </p:spPr>
      </p:pic>
      <p:pic>
        <p:nvPicPr>
          <p:cNvPr id="20" name="Picture 19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B961E2F6-38E0-FE6C-DD94-C2CABAE528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90" y="5228256"/>
            <a:ext cx="731520" cy="731520"/>
          </a:xfrm>
          <a:prstGeom prst="rect">
            <a:avLst/>
          </a:prstGeom>
        </p:spPr>
      </p:pic>
      <p:pic>
        <p:nvPicPr>
          <p:cNvPr id="23" name="Picture 22" descr="A black background with a black square&#10;&#10;Description automatically generated with medium confidence">
            <a:extLst>
              <a:ext uri="{FF2B5EF4-FFF2-40B4-BE49-F238E27FC236}">
                <a16:creationId xmlns:a16="http://schemas.microsoft.com/office/drawing/2014/main" id="{74077E1F-8C77-26F2-6A80-1CF0115C543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490" y="3070527"/>
            <a:ext cx="731520" cy="73152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26D5FFBF-0595-3F69-F46A-4DBABE1890CA}"/>
              </a:ext>
            </a:extLst>
          </p:cNvPr>
          <p:cNvSpPr txBox="1"/>
          <p:nvPr/>
        </p:nvSpPr>
        <p:spPr>
          <a:xfrm>
            <a:off x="2226957" y="1350403"/>
            <a:ext cx="5337625" cy="52322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l" rtl="0"/>
            <a:r>
              <a:rPr lang="zh-CN" sz="2800" b="1" i="0" u="none" baseline="0" dirty="0">
                <a:latin typeface="Times New Roman" panose="02020603050405020304" pitchFamily="18" charset="0"/>
                <a:ea typeface="宋体" panose="02010600030101010101" pitchFamily="2" charset="-122"/>
                <a:cs typeface="Times New Roman" panose="02020603050405020304" pitchFamily="18" charset="0"/>
              </a:rPr>
              <a:t>未来CAREC能源部门活动计划：</a:t>
            </a:r>
          </a:p>
        </p:txBody>
      </p:sp>
    </p:spTree>
    <p:extLst>
      <p:ext uri="{BB962C8B-B14F-4D97-AF65-F5344CB8AC3E}">
        <p14:creationId xmlns:p14="http://schemas.microsoft.com/office/powerpoint/2010/main" val="35022397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DAEA74914DCF4CB1BBCF0E2E5EDB11" ma:contentTypeVersion="17" ma:contentTypeDescription="Create a new document." ma:contentTypeScope="" ma:versionID="30482bcb042da94300ab269d05646591">
  <xsd:schema xmlns:xsd="http://www.w3.org/2001/XMLSchema" xmlns:xs="http://www.w3.org/2001/XMLSchema" xmlns:p="http://schemas.microsoft.com/office/2006/metadata/properties" xmlns:ns2="f668aa56-9285-4561-92d6-d6343913a899" xmlns:ns3="4d0bf39f-aee5-4194-a8cf-9eb94d977901" xmlns:ns4="c1fdd505-2570-46c2-bd04-3e0f2d874cf5" targetNamespace="http://schemas.microsoft.com/office/2006/metadata/properties" ma:root="true" ma:fieldsID="43fff43ee8f6aa09ff18a5919b1d8d27" ns2:_="" ns3:_="" ns4:_="">
    <xsd:import namespace="f668aa56-9285-4561-92d6-d6343913a899"/>
    <xsd:import namespace="4d0bf39f-aee5-4194-a8cf-9eb94d977901"/>
    <xsd:import namespace="c1fdd505-2570-46c2-bd04-3e0f2d874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4:TaxCatchAll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68aa56-9285-4561-92d6-d6343913a89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0bf39f-aee5-4194-a8cf-9eb94d9779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15af50e-efb3-4a0e-b425-875ff625e09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dd505-2570-46c2-bd04-3e0f2d874cf5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cf1b58bf-0af3-43f6-8149-3fc5501c152c}" ma:internalName="TaxCatchAll" ma:showField="CatchAllData" ma:web="f668aa56-9285-4561-92d6-d6343913a89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d0bf39f-aee5-4194-a8cf-9eb94d977901">
      <Terms xmlns="http://schemas.microsoft.com/office/infopath/2007/PartnerControls"/>
    </lcf76f155ced4ddcb4097134ff3c332f>
    <TaxCatchAll xmlns="c1fdd505-2570-46c2-bd04-3e0f2d874cf5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D886D26-4809-418B-A9FE-83BCAA690ED0}">
  <ds:schemaRefs>
    <ds:schemaRef ds:uri="4d0bf39f-aee5-4194-a8cf-9eb94d977901"/>
    <ds:schemaRef ds:uri="c1fdd505-2570-46c2-bd04-3e0f2d874cf5"/>
    <ds:schemaRef ds:uri="f668aa56-9285-4561-92d6-d6343913a89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9835D73B-52B6-4C33-96B6-BF3B1E78EB5B}">
  <ds:schemaRefs>
    <ds:schemaRef ds:uri="4d0bf39f-aee5-4194-a8cf-9eb94d977901"/>
    <ds:schemaRef ds:uri="c1fdd505-2570-46c2-bd04-3e0f2d874cf5"/>
    <ds:schemaRef ds:uri="f668aa56-9285-4561-92d6-d6343913a89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0874052-6454-449E-A57E-B13879DA84D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1244</Words>
  <Application>Microsoft Office PowerPoint</Application>
  <PresentationFormat>Widescreen</PresentationFormat>
  <Paragraphs>48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alibri</vt:lpstr>
      <vt:lpstr>Calibri Light</vt:lpstr>
      <vt:lpstr>Times New Roman</vt:lpstr>
      <vt:lpstr>Office Theme</vt:lpstr>
      <vt:lpstr>think-cell Slide</vt:lpstr>
      <vt:lpstr>  即将举办的能源投资论坛 活动更新 2023年11月28—29日，第比利斯</vt:lpstr>
      <vt:lpstr>背景</vt:lpstr>
      <vt:lpstr>会议目标</vt:lpstr>
      <vt:lpstr>第六届中亚区域经济合作能源投资论坛概况</vt:lpstr>
      <vt:lpstr>CAREC成员国政府的期待 </vt:lpstr>
      <vt:lpstr>未来计划</vt:lpstr>
    </vt:vector>
  </TitlesOfParts>
  <Company>Asian Development Ban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tin S. Jaer</dc:creator>
  <cp:lastModifiedBy>Reneli Gloria</cp:lastModifiedBy>
  <cp:revision>10</cp:revision>
  <cp:lastPrinted>2023-10-12T01:30:42Z</cp:lastPrinted>
  <dcterms:created xsi:type="dcterms:W3CDTF">2023-05-24T07:25:37Z</dcterms:created>
  <dcterms:modified xsi:type="dcterms:W3CDTF">2023-10-17T12:4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17d4574-7375-4d17-b29c-6e4c6df0fcb0_Enabled">
    <vt:lpwstr>true</vt:lpwstr>
  </property>
  <property fmtid="{D5CDD505-2E9C-101B-9397-08002B2CF9AE}" pid="3" name="MSIP_Label_817d4574-7375-4d17-b29c-6e4c6df0fcb0_SetDate">
    <vt:lpwstr>2023-05-24T07:25:37Z</vt:lpwstr>
  </property>
  <property fmtid="{D5CDD505-2E9C-101B-9397-08002B2CF9AE}" pid="4" name="MSIP_Label_817d4574-7375-4d17-b29c-6e4c6df0fcb0_Method">
    <vt:lpwstr>Standard</vt:lpwstr>
  </property>
  <property fmtid="{D5CDD505-2E9C-101B-9397-08002B2CF9AE}" pid="5" name="MSIP_Label_817d4574-7375-4d17-b29c-6e4c6df0fcb0_Name">
    <vt:lpwstr>ADB Internal</vt:lpwstr>
  </property>
  <property fmtid="{D5CDD505-2E9C-101B-9397-08002B2CF9AE}" pid="6" name="MSIP_Label_817d4574-7375-4d17-b29c-6e4c6df0fcb0_SiteId">
    <vt:lpwstr>9495d6bb-41c2-4c58-848f-92e52cf3d640</vt:lpwstr>
  </property>
  <property fmtid="{D5CDD505-2E9C-101B-9397-08002B2CF9AE}" pid="7" name="MSIP_Label_817d4574-7375-4d17-b29c-6e4c6df0fcb0_ActionId">
    <vt:lpwstr>16d94461-2355-4af3-8f78-361d57ecb44d</vt:lpwstr>
  </property>
  <property fmtid="{D5CDD505-2E9C-101B-9397-08002B2CF9AE}" pid="8" name="MSIP_Label_817d4574-7375-4d17-b29c-6e4c6df0fcb0_ContentBits">
    <vt:lpwstr>2</vt:lpwstr>
  </property>
  <property fmtid="{D5CDD505-2E9C-101B-9397-08002B2CF9AE}" pid="9" name="ClassificationContentMarkingFooterLocations">
    <vt:lpwstr>Office Theme:8</vt:lpwstr>
  </property>
  <property fmtid="{D5CDD505-2E9C-101B-9397-08002B2CF9AE}" pid="10" name="ClassificationContentMarkingFooterText">
    <vt:lpwstr>INTERNAL. This information is accessible to ADB Management and staff. It may be shared outside ADB with appropriate permission.</vt:lpwstr>
  </property>
  <property fmtid="{D5CDD505-2E9C-101B-9397-08002B2CF9AE}" pid="11" name="ContentTypeId">
    <vt:lpwstr>0x0101009FDAEA74914DCF4CB1BBCF0E2E5EDB11</vt:lpwstr>
  </property>
  <property fmtid="{D5CDD505-2E9C-101B-9397-08002B2CF9AE}" pid="12" name="MediaServiceImageTags">
    <vt:lpwstr/>
  </property>
</Properties>
</file>